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912" r:id="rId6"/>
  </p:sldMasterIdLst>
  <p:notesMasterIdLst>
    <p:notesMasterId r:id="rId18"/>
  </p:notesMasterIdLst>
  <p:handoutMasterIdLst>
    <p:handoutMasterId r:id="rId19"/>
  </p:handoutMasterIdLst>
  <p:sldIdLst>
    <p:sldId id="258" r:id="rId7"/>
    <p:sldId id="406" r:id="rId8"/>
    <p:sldId id="264" r:id="rId9"/>
    <p:sldId id="265" r:id="rId10"/>
    <p:sldId id="410" r:id="rId11"/>
    <p:sldId id="411" r:id="rId12"/>
    <p:sldId id="407" r:id="rId13"/>
    <p:sldId id="412" r:id="rId14"/>
    <p:sldId id="413" r:id="rId15"/>
    <p:sldId id="414" r:id="rId16"/>
    <p:sldId id="408" r:id="rId17"/>
  </p:sldIdLst>
  <p:sldSz cx="12192000" cy="6858000"/>
  <p:notesSz cx="6858000" cy="9144000"/>
  <p:custDataLst>
    <p:tags r:id="rId2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Content Catalog" id="{4E249A1C-D928-4AC0-A77C-65440B7A141B}">
          <p14:sldIdLst>
            <p14:sldId id="258"/>
            <p14:sldId id="406"/>
            <p14:sldId id="264"/>
            <p14:sldId id="265"/>
            <p14:sldId id="410"/>
            <p14:sldId id="411"/>
            <p14:sldId id="407"/>
            <p14:sldId id="412"/>
          </p14:sldIdLst>
        </p14:section>
        <p14:section name="Prepackage Content" id="{2C2B7EA1-14CB-48D4-AFBB-B8AD23591D7C}">
          <p14:sldIdLst>
            <p14:sldId id="413"/>
            <p14:sldId id="414"/>
            <p14:sldId id="408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7E7"/>
    <a:srgbClr val="01D1D0"/>
    <a:srgbClr val="0070AD"/>
    <a:srgbClr val="FF7E83"/>
    <a:srgbClr val="2B0A3D"/>
    <a:srgbClr val="00C37B"/>
    <a:srgbClr val="95E616"/>
    <a:srgbClr val="4701A7"/>
    <a:srgbClr val="FF632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1C1ACE-96BC-4DC6-80C4-6AC3E44A4453}" v="23" dt="2021-02-05T10:58:56.810"/>
    <p1510:client id="{EBE981DE-A579-4B91-A18D-13A909826620}" v="16" dt="2021-02-09T08:49:05.1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5291" autoAdjust="0"/>
  </p:normalViewPr>
  <p:slideViewPr>
    <p:cSldViewPr>
      <p:cViewPr varScale="1">
        <p:scale>
          <a:sx n="67" d="100"/>
          <a:sy n="67" d="100"/>
        </p:scale>
        <p:origin x="36" y="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, Ganesh" userId="S::ganesh.a.v@capgemini.com::10c3948a-9422-4d10-a6e4-c2e4eae982b0" providerId="AD" clId="Web-{D61C1ACE-96BC-4DC6-80C4-6AC3E44A4453}"/>
    <pc:docChg chg="modSld">
      <pc:chgData name="V, Ganesh" userId="S::ganesh.a.v@capgemini.com::10c3948a-9422-4d10-a6e4-c2e4eae982b0" providerId="AD" clId="Web-{D61C1ACE-96BC-4DC6-80C4-6AC3E44A4453}" dt="2021-02-05T10:58:56.810" v="20" actId="14100"/>
      <pc:docMkLst>
        <pc:docMk/>
      </pc:docMkLst>
      <pc:sldChg chg="delSp modSp">
        <pc:chgData name="V, Ganesh" userId="S::ganesh.a.v@capgemini.com::10c3948a-9422-4d10-a6e4-c2e4eae982b0" providerId="AD" clId="Web-{D61C1ACE-96BC-4DC6-80C4-6AC3E44A4453}" dt="2021-02-05T10:52:29.477" v="9"/>
        <pc:sldMkLst>
          <pc:docMk/>
          <pc:sldMk cId="0" sldId="258"/>
        </pc:sldMkLst>
        <pc:spChg chg="del mod">
          <ac:chgData name="V, Ganesh" userId="S::ganesh.a.v@capgemini.com::10c3948a-9422-4d10-a6e4-c2e4eae982b0" providerId="AD" clId="Web-{D61C1ACE-96BC-4DC6-80C4-6AC3E44A4453}" dt="2021-02-05T10:52:29.477" v="9"/>
          <ac:spMkLst>
            <pc:docMk/>
            <pc:sldMk cId="0" sldId="258"/>
            <ac:spMk id="5" creationId="{00000000-0000-0000-0000-000000000000}"/>
          </ac:spMkLst>
        </pc:spChg>
      </pc:sldChg>
      <pc:sldChg chg="modSp">
        <pc:chgData name="V, Ganesh" userId="S::ganesh.a.v@capgemini.com::10c3948a-9422-4d10-a6e4-c2e4eae982b0" providerId="AD" clId="Web-{D61C1ACE-96BC-4DC6-80C4-6AC3E44A4453}" dt="2021-02-05T10:54:12.791" v="12" actId="20577"/>
        <pc:sldMkLst>
          <pc:docMk/>
          <pc:sldMk cId="887955373" sldId="410"/>
        </pc:sldMkLst>
        <pc:spChg chg="mod">
          <ac:chgData name="V, Ganesh" userId="S::ganesh.a.v@capgemini.com::10c3948a-9422-4d10-a6e4-c2e4eae982b0" providerId="AD" clId="Web-{D61C1ACE-96BC-4DC6-80C4-6AC3E44A4453}" dt="2021-02-05T10:54:12.791" v="12" actId="20577"/>
          <ac:spMkLst>
            <pc:docMk/>
            <pc:sldMk cId="887955373" sldId="410"/>
            <ac:spMk id="3" creationId="{00000000-0000-0000-0000-000000000000}"/>
          </ac:spMkLst>
        </pc:spChg>
      </pc:sldChg>
      <pc:sldChg chg="addSp delSp modSp">
        <pc:chgData name="V, Ganesh" userId="S::ganesh.a.v@capgemini.com::10c3948a-9422-4d10-a6e4-c2e4eae982b0" providerId="AD" clId="Web-{D61C1ACE-96BC-4DC6-80C4-6AC3E44A4453}" dt="2021-02-05T10:58:56.810" v="20" actId="14100"/>
        <pc:sldMkLst>
          <pc:docMk/>
          <pc:sldMk cId="4128724402" sldId="411"/>
        </pc:sldMkLst>
        <pc:picChg chg="add mod">
          <ac:chgData name="V, Ganesh" userId="S::ganesh.a.v@capgemini.com::10c3948a-9422-4d10-a6e4-c2e4eae982b0" providerId="AD" clId="Web-{D61C1ACE-96BC-4DC6-80C4-6AC3E44A4453}" dt="2021-02-05T10:58:56.810" v="20" actId="14100"/>
          <ac:picMkLst>
            <pc:docMk/>
            <pc:sldMk cId="4128724402" sldId="411"/>
            <ac:picMk id="3" creationId="{25961B30-9177-4208-AD39-A922FF7B9F24}"/>
          </ac:picMkLst>
        </pc:picChg>
        <pc:picChg chg="del">
          <ac:chgData name="V, Ganesh" userId="S::ganesh.a.v@capgemini.com::10c3948a-9422-4d10-a6e4-c2e4eae982b0" providerId="AD" clId="Web-{D61C1ACE-96BC-4DC6-80C4-6AC3E44A4453}" dt="2021-02-05T10:58:22.638" v="13"/>
          <ac:picMkLst>
            <pc:docMk/>
            <pc:sldMk cId="4128724402" sldId="411"/>
            <ac:picMk id="6" creationId="{05AD7FF9-89CF-4837-B47C-16F58CAAE0CE}"/>
          </ac:picMkLst>
        </pc:picChg>
      </pc:sldChg>
    </pc:docChg>
  </pc:docChgLst>
  <pc:docChgLst>
    <pc:chgData name="V, Ganesh" userId="S::ganesh.a.v@capgemini.com::10c3948a-9422-4d10-a6e4-c2e4eae982b0" providerId="AD" clId="Web-{EBE981DE-A579-4B91-A18D-13A909826620}"/>
    <pc:docChg chg="modSld">
      <pc:chgData name="V, Ganesh" userId="S::ganesh.a.v@capgemini.com::10c3948a-9422-4d10-a6e4-c2e4eae982b0" providerId="AD" clId="Web-{EBE981DE-A579-4B91-A18D-13A909826620}" dt="2021-02-09T08:49:05.193" v="11" actId="1076"/>
      <pc:docMkLst>
        <pc:docMk/>
      </pc:docMkLst>
      <pc:sldChg chg="addSp delSp modSp">
        <pc:chgData name="V, Ganesh" userId="S::ganesh.a.v@capgemini.com::10c3948a-9422-4d10-a6e4-c2e4eae982b0" providerId="AD" clId="Web-{EBE981DE-A579-4B91-A18D-13A909826620}" dt="2021-02-09T08:49:05.193" v="11" actId="1076"/>
        <pc:sldMkLst>
          <pc:docMk/>
          <pc:sldMk cId="4128724402" sldId="411"/>
        </pc:sldMkLst>
        <pc:picChg chg="add mod">
          <ac:chgData name="V, Ganesh" userId="S::ganesh.a.v@capgemini.com::10c3948a-9422-4d10-a6e4-c2e4eae982b0" providerId="AD" clId="Web-{EBE981DE-A579-4B91-A18D-13A909826620}" dt="2021-02-09T08:48:03.192" v="2" actId="1076"/>
          <ac:picMkLst>
            <pc:docMk/>
            <pc:sldMk cId="4128724402" sldId="411"/>
            <ac:picMk id="5" creationId="{5B2B5988-3E09-4033-8A90-8975FFE363A7}"/>
          </ac:picMkLst>
        </pc:picChg>
        <pc:picChg chg="add mod">
          <ac:chgData name="V, Ganesh" userId="S::ganesh.a.v@capgemini.com::10c3948a-9422-4d10-a6e4-c2e4eae982b0" providerId="AD" clId="Web-{EBE981DE-A579-4B91-A18D-13A909826620}" dt="2021-02-09T08:48:21.239" v="5" actId="1076"/>
          <ac:picMkLst>
            <pc:docMk/>
            <pc:sldMk cId="4128724402" sldId="411"/>
            <ac:picMk id="6" creationId="{D980322C-3ED7-4276-8F57-B510DAE5521F}"/>
          </ac:picMkLst>
        </pc:picChg>
        <pc:picChg chg="add mod">
          <ac:chgData name="V, Ganesh" userId="S::ganesh.a.v@capgemini.com::10c3948a-9422-4d10-a6e4-c2e4eae982b0" providerId="AD" clId="Web-{EBE981DE-A579-4B91-A18D-13A909826620}" dt="2021-02-09T08:48:44.552" v="8" actId="1076"/>
          <ac:picMkLst>
            <pc:docMk/>
            <pc:sldMk cId="4128724402" sldId="411"/>
            <ac:picMk id="7" creationId="{70AE0B01-0185-46C7-8051-C7A7A651C3CC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8:57.006" v="9"/>
          <ac:picMkLst>
            <pc:docMk/>
            <pc:sldMk cId="4128724402" sldId="411"/>
            <ac:picMk id="9" creationId="{0942F9FD-9683-44AB-95B1-A4E2798A8129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7:57.770" v="0"/>
          <ac:picMkLst>
            <pc:docMk/>
            <pc:sldMk cId="4128724402" sldId="411"/>
            <ac:picMk id="10" creationId="{3987D450-9497-45A8-AD8E-9E1790C3C104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8:38.630" v="6"/>
          <ac:picMkLst>
            <pc:docMk/>
            <pc:sldMk cId="4128724402" sldId="411"/>
            <ac:picMk id="11" creationId="{C49FA7AC-941E-43D3-A307-FD0F183AF668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8:14.505" v="3"/>
          <ac:picMkLst>
            <pc:docMk/>
            <pc:sldMk cId="4128724402" sldId="411"/>
            <ac:picMk id="12" creationId="{7667086D-0B19-4A34-A0D8-CC88E9C45D54}"/>
          </ac:picMkLst>
        </pc:picChg>
        <pc:picChg chg="add mod">
          <ac:chgData name="V, Ganesh" userId="S::ganesh.a.v@capgemini.com::10c3948a-9422-4d10-a6e4-c2e4eae982b0" providerId="AD" clId="Web-{EBE981DE-A579-4B91-A18D-13A909826620}" dt="2021-02-09T08:49:05.193" v="11" actId="1076"/>
          <ac:picMkLst>
            <pc:docMk/>
            <pc:sldMk cId="4128724402" sldId="411"/>
            <ac:picMk id="13" creationId="{47C1B64C-2B39-4DDC-B3CD-25A03D385E1B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A9A892-0A62-459D-B467-3B6E407461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F552CE68-145E-4E5D-A58C-708FDD199C48}">
      <dgm:prSet phldrT="[Text]" custT="1"/>
      <dgm:spPr/>
      <dgm:t>
        <a:bodyPr/>
        <a:lstStyle/>
        <a:p>
          <a:r>
            <a:rPr lang="en-IN" sz="1800" b="1" dirty="0">
              <a:solidFill>
                <a:schemeClr val="bg1"/>
              </a:solidFill>
              <a:latin typeface="Arial"/>
            </a:rPr>
            <a:t>Overview: </a:t>
          </a:r>
          <a:endParaRPr lang="en-IN" sz="1800" dirty="0">
            <a:solidFill>
              <a:schemeClr val="bg1"/>
            </a:solidFill>
          </a:endParaRPr>
        </a:p>
      </dgm:t>
    </dgm:pt>
    <dgm:pt modelId="{2700F8DB-E9DA-41B2-A77B-145DA65F7400}" type="parTrans" cxnId="{0CEFDCCA-6C7C-476A-890F-6A792AE6C22C}">
      <dgm:prSet/>
      <dgm:spPr/>
      <dgm:t>
        <a:bodyPr/>
        <a:lstStyle/>
        <a:p>
          <a:endParaRPr lang="en-IN"/>
        </a:p>
      </dgm:t>
    </dgm:pt>
    <dgm:pt modelId="{47D2BEF8-2812-419F-A1CF-5401FF600F5E}" type="sibTrans" cxnId="{0CEFDCCA-6C7C-476A-890F-6A792AE6C22C}">
      <dgm:prSet/>
      <dgm:spPr/>
      <dgm:t>
        <a:bodyPr/>
        <a:lstStyle/>
        <a:p>
          <a:endParaRPr lang="en-IN"/>
        </a:p>
      </dgm:t>
    </dgm:pt>
    <dgm:pt modelId="{DD3BCFB0-BCF6-485B-9CE2-574CC126ADE8}">
      <dgm:prSet phldrT="[Text]"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This contains the description of Systems and the Integration between them.</a:t>
          </a:r>
          <a:endParaRPr lang="en-IN" sz="1800" dirty="0">
            <a:solidFill>
              <a:srgbClr val="002060"/>
            </a:solidFill>
          </a:endParaRPr>
        </a:p>
      </dgm:t>
    </dgm:pt>
    <dgm:pt modelId="{7B3282DA-3D44-47D9-9147-4D186BB048C1}" type="parTrans" cxnId="{254BC817-6EE2-408F-B88E-196A85EE846D}">
      <dgm:prSet/>
      <dgm:spPr/>
      <dgm:t>
        <a:bodyPr/>
        <a:lstStyle/>
        <a:p>
          <a:endParaRPr lang="en-IN"/>
        </a:p>
      </dgm:t>
    </dgm:pt>
    <dgm:pt modelId="{1A889612-FA25-4C68-80BB-B4DF1C8BD164}" type="sibTrans" cxnId="{254BC817-6EE2-408F-B88E-196A85EE846D}">
      <dgm:prSet/>
      <dgm:spPr/>
      <dgm:t>
        <a:bodyPr/>
        <a:lstStyle/>
        <a:p>
          <a:endParaRPr lang="en-IN"/>
        </a:p>
      </dgm:t>
    </dgm:pt>
    <dgm:pt modelId="{9A3F2A7E-8C25-4E98-B380-8B4B3275BC1B}">
      <dgm:prSet phldrT="[Text]" custT="1"/>
      <dgm:spPr/>
      <dgm:t>
        <a:bodyPr/>
        <a:lstStyle/>
        <a:p>
          <a:r>
            <a:rPr lang="en-IN" sz="1800" b="1" dirty="0">
              <a:solidFill>
                <a:schemeClr val="bg1"/>
              </a:solidFill>
              <a:latin typeface="Arial"/>
            </a:rPr>
            <a:t>Artifacts:</a:t>
          </a:r>
          <a:endParaRPr lang="en-IN" sz="1800" dirty="0">
            <a:solidFill>
              <a:schemeClr val="bg1"/>
            </a:solidFill>
          </a:endParaRPr>
        </a:p>
      </dgm:t>
    </dgm:pt>
    <dgm:pt modelId="{769D1B80-4C25-4A14-8D23-F798AFE578C2}" type="parTrans" cxnId="{125D8AC2-0465-4156-8E83-A302BDA2F95E}">
      <dgm:prSet/>
      <dgm:spPr/>
      <dgm:t>
        <a:bodyPr/>
        <a:lstStyle/>
        <a:p>
          <a:endParaRPr lang="en-IN"/>
        </a:p>
      </dgm:t>
    </dgm:pt>
    <dgm:pt modelId="{F6CAE2F2-3F8B-4F5D-A2C0-AD94611405AA}" type="sibTrans" cxnId="{125D8AC2-0465-4156-8E83-A302BDA2F95E}">
      <dgm:prSet/>
      <dgm:spPr/>
      <dgm:t>
        <a:bodyPr/>
        <a:lstStyle/>
        <a:p>
          <a:endParaRPr lang="en-IN"/>
        </a:p>
      </dgm:t>
    </dgm:pt>
    <dgm:pt modelId="{D420FC9D-7B78-4AD0-B8CC-5D0B37D2E814}">
      <dgm:prSet phldrT="[Text]"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Integration flows for various business process are added within Artifacts.</a:t>
          </a:r>
          <a:endParaRPr lang="en-IN" sz="1800" dirty="0">
            <a:solidFill>
              <a:srgbClr val="002060"/>
            </a:solidFill>
          </a:endParaRPr>
        </a:p>
      </dgm:t>
    </dgm:pt>
    <dgm:pt modelId="{F377CA27-3B36-4C4E-A6FD-438C18624D62}" type="parTrans" cxnId="{81429AFC-4B54-4063-9784-5AE99E04F131}">
      <dgm:prSet/>
      <dgm:spPr/>
      <dgm:t>
        <a:bodyPr/>
        <a:lstStyle/>
        <a:p>
          <a:endParaRPr lang="en-IN"/>
        </a:p>
      </dgm:t>
    </dgm:pt>
    <dgm:pt modelId="{B504FAEE-384B-42FC-A893-2A20FB1B2FFC}" type="sibTrans" cxnId="{81429AFC-4B54-4063-9784-5AE99E04F131}">
      <dgm:prSet/>
      <dgm:spPr/>
      <dgm:t>
        <a:bodyPr/>
        <a:lstStyle/>
        <a:p>
          <a:endParaRPr lang="en-IN"/>
        </a:p>
      </dgm:t>
    </dgm:pt>
    <dgm:pt modelId="{285197F0-3E3F-4A65-865B-F04B513DE9A9}">
      <dgm:prSet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Other information's are available within overview are Integration flow, Package ID, Category and Created date.</a:t>
          </a:r>
        </a:p>
      </dgm:t>
    </dgm:pt>
    <dgm:pt modelId="{B34AFF1F-FB8A-48AF-9B2C-DBE31C54B2C6}" type="parTrans" cxnId="{77F7EB15-807F-437D-86E2-F893421839D2}">
      <dgm:prSet/>
      <dgm:spPr/>
      <dgm:t>
        <a:bodyPr/>
        <a:lstStyle/>
        <a:p>
          <a:endParaRPr lang="en-IN"/>
        </a:p>
      </dgm:t>
    </dgm:pt>
    <dgm:pt modelId="{E517F39D-0245-44EB-BDE9-193E046D1360}" type="sibTrans" cxnId="{77F7EB15-807F-437D-86E2-F893421839D2}">
      <dgm:prSet/>
      <dgm:spPr/>
      <dgm:t>
        <a:bodyPr/>
        <a:lstStyle/>
        <a:p>
          <a:endParaRPr lang="en-IN"/>
        </a:p>
      </dgm:t>
    </dgm:pt>
    <dgm:pt modelId="{930015BE-B3F9-4818-B0BB-22F495BBB30A}">
      <dgm:prSet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Other components available under artifacts are OData Service, Value Mapping and Data integration.</a:t>
          </a:r>
        </a:p>
      </dgm:t>
    </dgm:pt>
    <dgm:pt modelId="{FC2D78D1-6068-47B4-A8B8-A4E8E7961841}" type="parTrans" cxnId="{45A4B0D3-3394-4440-B9CD-8211C0B35414}">
      <dgm:prSet/>
      <dgm:spPr/>
      <dgm:t>
        <a:bodyPr/>
        <a:lstStyle/>
        <a:p>
          <a:endParaRPr lang="en-IN"/>
        </a:p>
      </dgm:t>
    </dgm:pt>
    <dgm:pt modelId="{ADD023AB-80A9-43EA-A7B8-56E7EDC9637A}" type="sibTrans" cxnId="{45A4B0D3-3394-4440-B9CD-8211C0B35414}">
      <dgm:prSet/>
      <dgm:spPr/>
      <dgm:t>
        <a:bodyPr/>
        <a:lstStyle/>
        <a:p>
          <a:endParaRPr lang="en-IN"/>
        </a:p>
      </dgm:t>
    </dgm:pt>
    <dgm:pt modelId="{A5C2A017-14CA-4365-8110-6F7E32FF3AEC}">
      <dgm:prSet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We can view the steps within the Integration flow from Artifacts</a:t>
          </a:r>
        </a:p>
      </dgm:t>
    </dgm:pt>
    <dgm:pt modelId="{39D3B629-F28E-488F-A63E-E2576F9BBC6C}" type="parTrans" cxnId="{192E3731-0D72-417A-B8C3-4993F74213CC}">
      <dgm:prSet/>
      <dgm:spPr/>
      <dgm:t>
        <a:bodyPr/>
        <a:lstStyle/>
        <a:p>
          <a:endParaRPr lang="en-IN"/>
        </a:p>
      </dgm:t>
    </dgm:pt>
    <dgm:pt modelId="{3C51AB37-0E41-4822-AE0F-B2EE8CDC9751}" type="sibTrans" cxnId="{192E3731-0D72-417A-B8C3-4993F74213CC}">
      <dgm:prSet/>
      <dgm:spPr/>
      <dgm:t>
        <a:bodyPr/>
        <a:lstStyle/>
        <a:p>
          <a:endParaRPr lang="en-IN"/>
        </a:p>
      </dgm:t>
    </dgm:pt>
    <dgm:pt modelId="{B726A715-19AF-4F72-90A0-297197F0F993}" type="pres">
      <dgm:prSet presAssocID="{3AA9A892-0A62-459D-B467-3B6E407461A9}" presName="linear" presStyleCnt="0">
        <dgm:presLayoutVars>
          <dgm:animLvl val="lvl"/>
          <dgm:resizeHandles val="exact"/>
        </dgm:presLayoutVars>
      </dgm:prSet>
      <dgm:spPr/>
    </dgm:pt>
    <dgm:pt modelId="{11A9526C-E658-4802-9013-AF498F12A448}" type="pres">
      <dgm:prSet presAssocID="{F552CE68-145E-4E5D-A58C-708FDD199C48}" presName="parentText" presStyleLbl="node1" presStyleIdx="0" presStyleCnt="2" custScaleX="32823" custScaleY="48807" custLinFactNeighborX="-32361" custLinFactNeighborY="-34634">
        <dgm:presLayoutVars>
          <dgm:chMax val="0"/>
          <dgm:bulletEnabled val="1"/>
        </dgm:presLayoutVars>
      </dgm:prSet>
      <dgm:spPr/>
    </dgm:pt>
    <dgm:pt modelId="{A3B25F7B-9758-4B90-A6F0-0D7D0F67E36B}" type="pres">
      <dgm:prSet presAssocID="{F552CE68-145E-4E5D-A58C-708FDD199C48}" presName="childText" presStyleLbl="revTx" presStyleIdx="0" presStyleCnt="2" custLinFactNeighborX="830" custLinFactNeighborY="-2063">
        <dgm:presLayoutVars>
          <dgm:bulletEnabled val="1"/>
        </dgm:presLayoutVars>
      </dgm:prSet>
      <dgm:spPr/>
    </dgm:pt>
    <dgm:pt modelId="{7E403407-4C34-4231-9794-9454C6EE0B7F}" type="pres">
      <dgm:prSet presAssocID="{9A3F2A7E-8C25-4E98-B380-8B4B3275BC1B}" presName="parentText" presStyleLbl="node1" presStyleIdx="1" presStyleCnt="2" custScaleX="33067" custScaleY="47337" custLinFactNeighborX="-37977" custLinFactNeighborY="1696">
        <dgm:presLayoutVars>
          <dgm:chMax val="0"/>
          <dgm:bulletEnabled val="1"/>
        </dgm:presLayoutVars>
      </dgm:prSet>
      <dgm:spPr/>
    </dgm:pt>
    <dgm:pt modelId="{9E522435-30F3-48FD-B96A-D6E948371FDE}" type="pres">
      <dgm:prSet presAssocID="{9A3F2A7E-8C25-4E98-B380-8B4B3275BC1B}" presName="childText" presStyleLbl="revTx" presStyleIdx="1" presStyleCnt="2" custLinFactNeighborY="24166">
        <dgm:presLayoutVars>
          <dgm:bulletEnabled val="1"/>
        </dgm:presLayoutVars>
      </dgm:prSet>
      <dgm:spPr/>
    </dgm:pt>
  </dgm:ptLst>
  <dgm:cxnLst>
    <dgm:cxn modelId="{5ABD8511-178E-4AAC-B4B5-0343C933D636}" type="presOf" srcId="{3AA9A892-0A62-459D-B467-3B6E407461A9}" destId="{B726A715-19AF-4F72-90A0-297197F0F993}" srcOrd="0" destOrd="0" presId="urn:microsoft.com/office/officeart/2005/8/layout/vList2"/>
    <dgm:cxn modelId="{77F7EB15-807F-437D-86E2-F893421839D2}" srcId="{F552CE68-145E-4E5D-A58C-708FDD199C48}" destId="{285197F0-3E3F-4A65-865B-F04B513DE9A9}" srcOrd="1" destOrd="0" parTransId="{B34AFF1F-FB8A-48AF-9B2C-DBE31C54B2C6}" sibTransId="{E517F39D-0245-44EB-BDE9-193E046D1360}"/>
    <dgm:cxn modelId="{254BC817-6EE2-408F-B88E-196A85EE846D}" srcId="{F552CE68-145E-4E5D-A58C-708FDD199C48}" destId="{DD3BCFB0-BCF6-485B-9CE2-574CC126ADE8}" srcOrd="0" destOrd="0" parTransId="{7B3282DA-3D44-47D9-9147-4D186BB048C1}" sibTransId="{1A889612-FA25-4C68-80BB-B4DF1C8BD164}"/>
    <dgm:cxn modelId="{8F01781C-A370-4F23-99CE-E490657FA677}" type="presOf" srcId="{D420FC9D-7B78-4AD0-B8CC-5D0B37D2E814}" destId="{9E522435-30F3-48FD-B96A-D6E948371FDE}" srcOrd="0" destOrd="0" presId="urn:microsoft.com/office/officeart/2005/8/layout/vList2"/>
    <dgm:cxn modelId="{2C683E23-977F-4F38-8493-FECBB1FD8399}" type="presOf" srcId="{285197F0-3E3F-4A65-865B-F04B513DE9A9}" destId="{A3B25F7B-9758-4B90-A6F0-0D7D0F67E36B}" srcOrd="0" destOrd="1" presId="urn:microsoft.com/office/officeart/2005/8/layout/vList2"/>
    <dgm:cxn modelId="{192E3731-0D72-417A-B8C3-4993F74213CC}" srcId="{9A3F2A7E-8C25-4E98-B380-8B4B3275BC1B}" destId="{A5C2A017-14CA-4365-8110-6F7E32FF3AEC}" srcOrd="2" destOrd="0" parTransId="{39D3B629-F28E-488F-A63E-E2576F9BBC6C}" sibTransId="{3C51AB37-0E41-4822-AE0F-B2EE8CDC9751}"/>
    <dgm:cxn modelId="{8016F773-920C-466E-B685-9F6CA8E01C4C}" type="presOf" srcId="{DD3BCFB0-BCF6-485B-9CE2-574CC126ADE8}" destId="{A3B25F7B-9758-4B90-A6F0-0D7D0F67E36B}" srcOrd="0" destOrd="0" presId="urn:microsoft.com/office/officeart/2005/8/layout/vList2"/>
    <dgm:cxn modelId="{BF7ECCAD-54B2-4228-9439-CE5004178AB9}" type="presOf" srcId="{9A3F2A7E-8C25-4E98-B380-8B4B3275BC1B}" destId="{7E403407-4C34-4231-9794-9454C6EE0B7F}" srcOrd="0" destOrd="0" presId="urn:microsoft.com/office/officeart/2005/8/layout/vList2"/>
    <dgm:cxn modelId="{125D8AC2-0465-4156-8E83-A302BDA2F95E}" srcId="{3AA9A892-0A62-459D-B467-3B6E407461A9}" destId="{9A3F2A7E-8C25-4E98-B380-8B4B3275BC1B}" srcOrd="1" destOrd="0" parTransId="{769D1B80-4C25-4A14-8D23-F798AFE578C2}" sibTransId="{F6CAE2F2-3F8B-4F5D-A2C0-AD94611405AA}"/>
    <dgm:cxn modelId="{0CEFDCCA-6C7C-476A-890F-6A792AE6C22C}" srcId="{3AA9A892-0A62-459D-B467-3B6E407461A9}" destId="{F552CE68-145E-4E5D-A58C-708FDD199C48}" srcOrd="0" destOrd="0" parTransId="{2700F8DB-E9DA-41B2-A77B-145DA65F7400}" sibTransId="{47D2BEF8-2812-419F-A1CF-5401FF600F5E}"/>
    <dgm:cxn modelId="{45A4B0D3-3394-4440-B9CD-8211C0B35414}" srcId="{9A3F2A7E-8C25-4E98-B380-8B4B3275BC1B}" destId="{930015BE-B3F9-4818-B0BB-22F495BBB30A}" srcOrd="1" destOrd="0" parTransId="{FC2D78D1-6068-47B4-A8B8-A4E8E7961841}" sibTransId="{ADD023AB-80A9-43EA-A7B8-56E7EDC9637A}"/>
    <dgm:cxn modelId="{46476CDC-AF4B-43BA-94E3-30F871F3219F}" type="presOf" srcId="{930015BE-B3F9-4818-B0BB-22F495BBB30A}" destId="{9E522435-30F3-48FD-B96A-D6E948371FDE}" srcOrd="0" destOrd="1" presId="urn:microsoft.com/office/officeart/2005/8/layout/vList2"/>
    <dgm:cxn modelId="{17F90DE0-075F-4485-9D75-712B523FC505}" type="presOf" srcId="{F552CE68-145E-4E5D-A58C-708FDD199C48}" destId="{11A9526C-E658-4802-9013-AF498F12A448}" srcOrd="0" destOrd="0" presId="urn:microsoft.com/office/officeart/2005/8/layout/vList2"/>
    <dgm:cxn modelId="{142B05F3-8BB9-489A-B86E-E68024D25C60}" type="presOf" srcId="{A5C2A017-14CA-4365-8110-6F7E32FF3AEC}" destId="{9E522435-30F3-48FD-B96A-D6E948371FDE}" srcOrd="0" destOrd="2" presId="urn:microsoft.com/office/officeart/2005/8/layout/vList2"/>
    <dgm:cxn modelId="{81429AFC-4B54-4063-9784-5AE99E04F131}" srcId="{9A3F2A7E-8C25-4E98-B380-8B4B3275BC1B}" destId="{D420FC9D-7B78-4AD0-B8CC-5D0B37D2E814}" srcOrd="0" destOrd="0" parTransId="{F377CA27-3B36-4C4E-A6FD-438C18624D62}" sibTransId="{B504FAEE-384B-42FC-A893-2A20FB1B2FFC}"/>
    <dgm:cxn modelId="{630909B4-DA13-449B-BBF8-23DE6A6EA365}" type="presParOf" srcId="{B726A715-19AF-4F72-90A0-297197F0F993}" destId="{11A9526C-E658-4802-9013-AF498F12A448}" srcOrd="0" destOrd="0" presId="urn:microsoft.com/office/officeart/2005/8/layout/vList2"/>
    <dgm:cxn modelId="{4CA69BB4-B28F-4687-B475-8E2E55E068DD}" type="presParOf" srcId="{B726A715-19AF-4F72-90A0-297197F0F993}" destId="{A3B25F7B-9758-4B90-A6F0-0D7D0F67E36B}" srcOrd="1" destOrd="0" presId="urn:microsoft.com/office/officeart/2005/8/layout/vList2"/>
    <dgm:cxn modelId="{A5D68336-22EC-48A5-8BEA-F4BC7B51D90C}" type="presParOf" srcId="{B726A715-19AF-4F72-90A0-297197F0F993}" destId="{7E403407-4C34-4231-9794-9454C6EE0B7F}" srcOrd="2" destOrd="0" presId="urn:microsoft.com/office/officeart/2005/8/layout/vList2"/>
    <dgm:cxn modelId="{DE8ECCB0-27F8-4EEA-8FB6-BA2443C963E2}" type="presParOf" srcId="{B726A715-19AF-4F72-90A0-297197F0F993}" destId="{9E522435-30F3-48FD-B96A-D6E948371FDE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4363960-CBD0-44A8-AE09-45DA7517DE40}" type="doc">
      <dgm:prSet loTypeId="urn:microsoft.com/office/officeart/2005/8/layout/matrix1" loCatId="matrix" qsTypeId="urn:microsoft.com/office/officeart/2005/8/quickstyle/3d7" qsCatId="3D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C08660C-FB28-4D3D-AB59-E2DF8D76B87F}">
      <dgm:prSet phldrT="[Text]"/>
      <dgm:spPr/>
      <dgm:t>
        <a:bodyPr/>
        <a:lstStyle/>
        <a:p>
          <a:r>
            <a:rPr lang="en-IN" b="1" dirty="0"/>
            <a:t>Artifacts</a:t>
          </a:r>
        </a:p>
      </dgm:t>
    </dgm:pt>
    <dgm:pt modelId="{EC0A9439-A64B-42F5-BD06-B2B1CC1D2AFE}" type="parTrans" cxnId="{2637299C-B981-4F20-AFDB-EC4867C88EE5}">
      <dgm:prSet/>
      <dgm:spPr/>
      <dgm:t>
        <a:bodyPr/>
        <a:lstStyle/>
        <a:p>
          <a:endParaRPr lang="en-IN"/>
        </a:p>
      </dgm:t>
    </dgm:pt>
    <dgm:pt modelId="{9FF64C03-18A7-4E03-99C4-AF0DCEE8B01E}" type="sibTrans" cxnId="{2637299C-B981-4F20-AFDB-EC4867C88EE5}">
      <dgm:prSet/>
      <dgm:spPr/>
      <dgm:t>
        <a:bodyPr/>
        <a:lstStyle/>
        <a:p>
          <a:endParaRPr lang="en-IN"/>
        </a:p>
      </dgm:t>
    </dgm:pt>
    <dgm:pt modelId="{9F534A0D-1A26-46F5-A00C-8E825EEA1B1D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Integration Flow</a:t>
          </a:r>
        </a:p>
      </dgm:t>
    </dgm:pt>
    <dgm:pt modelId="{C107A992-5AD7-4460-BC33-AD71054BD2DF}" type="parTrans" cxnId="{AF8E4144-5F9C-4E29-931C-897E3444041F}">
      <dgm:prSet/>
      <dgm:spPr/>
      <dgm:t>
        <a:bodyPr/>
        <a:lstStyle/>
        <a:p>
          <a:endParaRPr lang="en-IN"/>
        </a:p>
      </dgm:t>
    </dgm:pt>
    <dgm:pt modelId="{92C0AF32-202B-47F6-BEDA-EDF97AA55E41}" type="sibTrans" cxnId="{AF8E4144-5F9C-4E29-931C-897E3444041F}">
      <dgm:prSet/>
      <dgm:spPr/>
      <dgm:t>
        <a:bodyPr/>
        <a:lstStyle/>
        <a:p>
          <a:endParaRPr lang="en-IN"/>
        </a:p>
      </dgm:t>
    </dgm:pt>
    <dgm:pt modelId="{609D7614-0A8E-4921-9B4B-32A9DFEB8ED8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OData Service</a:t>
          </a:r>
        </a:p>
      </dgm:t>
    </dgm:pt>
    <dgm:pt modelId="{C746F232-871B-4FEE-9007-FA9166B13058}" type="parTrans" cxnId="{548103D4-403E-4551-884F-DFF21690C557}">
      <dgm:prSet/>
      <dgm:spPr/>
      <dgm:t>
        <a:bodyPr/>
        <a:lstStyle/>
        <a:p>
          <a:endParaRPr lang="en-IN"/>
        </a:p>
      </dgm:t>
    </dgm:pt>
    <dgm:pt modelId="{6ED7C0A6-F634-40F3-AA86-621C1497CD04}" type="sibTrans" cxnId="{548103D4-403E-4551-884F-DFF21690C557}">
      <dgm:prSet/>
      <dgm:spPr/>
      <dgm:t>
        <a:bodyPr/>
        <a:lstStyle/>
        <a:p>
          <a:endParaRPr lang="en-IN"/>
        </a:p>
      </dgm:t>
    </dgm:pt>
    <dgm:pt modelId="{4FEC67C1-3C8F-4E7E-A05C-E92AAE35FA34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Value Mapping</a:t>
          </a:r>
        </a:p>
      </dgm:t>
    </dgm:pt>
    <dgm:pt modelId="{3AC5D501-4152-4919-8FAC-C38942DDEC5E}" type="parTrans" cxnId="{F041D7D9-72C3-4A14-872D-33C9E8433AF4}">
      <dgm:prSet/>
      <dgm:spPr/>
      <dgm:t>
        <a:bodyPr/>
        <a:lstStyle/>
        <a:p>
          <a:endParaRPr lang="en-IN"/>
        </a:p>
      </dgm:t>
    </dgm:pt>
    <dgm:pt modelId="{043B085B-F6C9-4F39-8F7C-40F773DEC44A}" type="sibTrans" cxnId="{F041D7D9-72C3-4A14-872D-33C9E8433AF4}">
      <dgm:prSet/>
      <dgm:spPr/>
      <dgm:t>
        <a:bodyPr/>
        <a:lstStyle/>
        <a:p>
          <a:endParaRPr lang="en-IN"/>
        </a:p>
      </dgm:t>
    </dgm:pt>
    <dgm:pt modelId="{05B0CD59-C51B-4E32-AAD1-005249BD24E1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Data Integration</a:t>
          </a:r>
        </a:p>
      </dgm:t>
    </dgm:pt>
    <dgm:pt modelId="{81C48787-AE58-4288-A9BD-CB55DEE5316E}" type="parTrans" cxnId="{E30B19D5-D855-4653-9877-CC3B07A50F2A}">
      <dgm:prSet/>
      <dgm:spPr/>
      <dgm:t>
        <a:bodyPr/>
        <a:lstStyle/>
        <a:p>
          <a:endParaRPr lang="en-IN"/>
        </a:p>
      </dgm:t>
    </dgm:pt>
    <dgm:pt modelId="{6019FCDC-9622-441A-97E8-095D0FC8440D}" type="sibTrans" cxnId="{E30B19D5-D855-4653-9877-CC3B07A50F2A}">
      <dgm:prSet/>
      <dgm:spPr/>
      <dgm:t>
        <a:bodyPr/>
        <a:lstStyle/>
        <a:p>
          <a:endParaRPr lang="en-IN"/>
        </a:p>
      </dgm:t>
    </dgm:pt>
    <dgm:pt modelId="{4683F769-0AF5-4890-8AE0-DA882D43917E}" type="pres">
      <dgm:prSet presAssocID="{24363960-CBD0-44A8-AE09-45DA7517DE40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8716A08-E8A1-469A-B821-CB08E095C036}" type="pres">
      <dgm:prSet presAssocID="{24363960-CBD0-44A8-AE09-45DA7517DE40}" presName="matrix" presStyleCnt="0"/>
      <dgm:spPr/>
    </dgm:pt>
    <dgm:pt modelId="{260B055C-AF8F-4CEC-915F-1DFC624E0F3A}" type="pres">
      <dgm:prSet presAssocID="{24363960-CBD0-44A8-AE09-45DA7517DE40}" presName="tile1" presStyleLbl="node1" presStyleIdx="0" presStyleCnt="4" custLinFactNeighborX="-104" custLinFactNeighborY="-9639"/>
      <dgm:spPr/>
    </dgm:pt>
    <dgm:pt modelId="{F7EBF9B3-CA9B-47C8-A6BD-BA0668763AA6}" type="pres">
      <dgm:prSet presAssocID="{24363960-CBD0-44A8-AE09-45DA7517DE40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7AAEABB-C439-4FBE-8DE2-7998B3B7148A}" type="pres">
      <dgm:prSet presAssocID="{24363960-CBD0-44A8-AE09-45DA7517DE40}" presName="tile2" presStyleLbl="node1" presStyleIdx="1" presStyleCnt="4"/>
      <dgm:spPr/>
    </dgm:pt>
    <dgm:pt modelId="{9397AB43-3045-4A46-A9C4-67B446C57C8A}" type="pres">
      <dgm:prSet presAssocID="{24363960-CBD0-44A8-AE09-45DA7517DE40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90E27CC4-17BA-4285-AFD0-A5B98D3F4EF7}" type="pres">
      <dgm:prSet presAssocID="{24363960-CBD0-44A8-AE09-45DA7517DE40}" presName="tile3" presStyleLbl="node1" presStyleIdx="2" presStyleCnt="4"/>
      <dgm:spPr/>
    </dgm:pt>
    <dgm:pt modelId="{39BE272B-FC02-4B5B-B53D-FF11378690D4}" type="pres">
      <dgm:prSet presAssocID="{24363960-CBD0-44A8-AE09-45DA7517DE40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5DBF0AB-9556-41CD-90FC-50784E84D5AD}" type="pres">
      <dgm:prSet presAssocID="{24363960-CBD0-44A8-AE09-45DA7517DE40}" presName="tile4" presStyleLbl="node1" presStyleIdx="3" presStyleCnt="4"/>
      <dgm:spPr/>
    </dgm:pt>
    <dgm:pt modelId="{5A795305-CF05-4C1E-BD47-8D6A254FA8EF}" type="pres">
      <dgm:prSet presAssocID="{24363960-CBD0-44A8-AE09-45DA7517DE40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4DF061A3-83A3-4F59-9A35-2A96F9B5EBC4}" type="pres">
      <dgm:prSet presAssocID="{24363960-CBD0-44A8-AE09-45DA7517DE40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DFB96A0E-44D9-4563-BF89-C717D2AE09E9}" type="presOf" srcId="{05B0CD59-C51B-4E32-AAD1-005249BD24E1}" destId="{B5DBF0AB-9556-41CD-90FC-50784E84D5AD}" srcOrd="0" destOrd="0" presId="urn:microsoft.com/office/officeart/2005/8/layout/matrix1"/>
    <dgm:cxn modelId="{C030C936-EB37-448C-A86F-F68DB8293481}" type="presOf" srcId="{05B0CD59-C51B-4E32-AAD1-005249BD24E1}" destId="{5A795305-CF05-4C1E-BD47-8D6A254FA8EF}" srcOrd="1" destOrd="0" presId="urn:microsoft.com/office/officeart/2005/8/layout/matrix1"/>
    <dgm:cxn modelId="{A8199A3F-90A7-446B-A2ED-62E7F8D9A9F9}" type="presOf" srcId="{24363960-CBD0-44A8-AE09-45DA7517DE40}" destId="{4683F769-0AF5-4890-8AE0-DA882D43917E}" srcOrd="0" destOrd="0" presId="urn:microsoft.com/office/officeart/2005/8/layout/matrix1"/>
    <dgm:cxn modelId="{AF8E4144-5F9C-4E29-931C-897E3444041F}" srcId="{4C08660C-FB28-4D3D-AB59-E2DF8D76B87F}" destId="{9F534A0D-1A26-46F5-A00C-8E825EEA1B1D}" srcOrd="0" destOrd="0" parTransId="{C107A992-5AD7-4460-BC33-AD71054BD2DF}" sibTransId="{92C0AF32-202B-47F6-BEDA-EDF97AA55E41}"/>
    <dgm:cxn modelId="{BED60B6F-36D6-4D48-8B32-7059CA0A92B7}" type="presOf" srcId="{4C08660C-FB28-4D3D-AB59-E2DF8D76B87F}" destId="{4DF061A3-83A3-4F59-9A35-2A96F9B5EBC4}" srcOrd="0" destOrd="0" presId="urn:microsoft.com/office/officeart/2005/8/layout/matrix1"/>
    <dgm:cxn modelId="{00948751-AEEE-4F53-A4CB-6797ADA40A1B}" type="presOf" srcId="{609D7614-0A8E-4921-9B4B-32A9DFEB8ED8}" destId="{9397AB43-3045-4A46-A9C4-67B446C57C8A}" srcOrd="1" destOrd="0" presId="urn:microsoft.com/office/officeart/2005/8/layout/matrix1"/>
    <dgm:cxn modelId="{B9277986-C1DE-44DE-9CBD-030E24FAFD04}" type="presOf" srcId="{4FEC67C1-3C8F-4E7E-A05C-E92AAE35FA34}" destId="{39BE272B-FC02-4B5B-B53D-FF11378690D4}" srcOrd="1" destOrd="0" presId="urn:microsoft.com/office/officeart/2005/8/layout/matrix1"/>
    <dgm:cxn modelId="{2637299C-B981-4F20-AFDB-EC4867C88EE5}" srcId="{24363960-CBD0-44A8-AE09-45DA7517DE40}" destId="{4C08660C-FB28-4D3D-AB59-E2DF8D76B87F}" srcOrd="0" destOrd="0" parTransId="{EC0A9439-A64B-42F5-BD06-B2B1CC1D2AFE}" sibTransId="{9FF64C03-18A7-4E03-99C4-AF0DCEE8B01E}"/>
    <dgm:cxn modelId="{F9B8079E-1713-4BDA-87E6-EB8F7D4DC2E2}" type="presOf" srcId="{9F534A0D-1A26-46F5-A00C-8E825EEA1B1D}" destId="{F7EBF9B3-CA9B-47C8-A6BD-BA0668763AA6}" srcOrd="1" destOrd="0" presId="urn:microsoft.com/office/officeart/2005/8/layout/matrix1"/>
    <dgm:cxn modelId="{548103D4-403E-4551-884F-DFF21690C557}" srcId="{4C08660C-FB28-4D3D-AB59-E2DF8D76B87F}" destId="{609D7614-0A8E-4921-9B4B-32A9DFEB8ED8}" srcOrd="1" destOrd="0" parTransId="{C746F232-871B-4FEE-9007-FA9166B13058}" sibTransId="{6ED7C0A6-F634-40F3-AA86-621C1497CD04}"/>
    <dgm:cxn modelId="{E30B19D5-D855-4653-9877-CC3B07A50F2A}" srcId="{4C08660C-FB28-4D3D-AB59-E2DF8D76B87F}" destId="{05B0CD59-C51B-4E32-AAD1-005249BD24E1}" srcOrd="3" destOrd="0" parTransId="{81C48787-AE58-4288-A9BD-CB55DEE5316E}" sibTransId="{6019FCDC-9622-441A-97E8-095D0FC8440D}"/>
    <dgm:cxn modelId="{F041D7D9-72C3-4A14-872D-33C9E8433AF4}" srcId="{4C08660C-FB28-4D3D-AB59-E2DF8D76B87F}" destId="{4FEC67C1-3C8F-4E7E-A05C-E92AAE35FA34}" srcOrd="2" destOrd="0" parTransId="{3AC5D501-4152-4919-8FAC-C38942DDEC5E}" sibTransId="{043B085B-F6C9-4F39-8F7C-40F773DEC44A}"/>
    <dgm:cxn modelId="{39803BE2-781B-400B-A617-5AD3B8F5F275}" type="presOf" srcId="{4FEC67C1-3C8F-4E7E-A05C-E92AAE35FA34}" destId="{90E27CC4-17BA-4285-AFD0-A5B98D3F4EF7}" srcOrd="0" destOrd="0" presId="urn:microsoft.com/office/officeart/2005/8/layout/matrix1"/>
    <dgm:cxn modelId="{E8C09AE4-3DBF-4320-B047-87369398E56F}" type="presOf" srcId="{609D7614-0A8E-4921-9B4B-32A9DFEB8ED8}" destId="{77AAEABB-C439-4FBE-8DE2-7998B3B7148A}" srcOrd="0" destOrd="0" presId="urn:microsoft.com/office/officeart/2005/8/layout/matrix1"/>
    <dgm:cxn modelId="{99A0C1ED-5BF4-44DD-847C-7F88CC003052}" type="presOf" srcId="{9F534A0D-1A26-46F5-A00C-8E825EEA1B1D}" destId="{260B055C-AF8F-4CEC-915F-1DFC624E0F3A}" srcOrd="0" destOrd="0" presId="urn:microsoft.com/office/officeart/2005/8/layout/matrix1"/>
    <dgm:cxn modelId="{5801D66C-2332-4DFC-9003-785882AD1775}" type="presParOf" srcId="{4683F769-0AF5-4890-8AE0-DA882D43917E}" destId="{58716A08-E8A1-469A-B821-CB08E095C036}" srcOrd="0" destOrd="0" presId="urn:microsoft.com/office/officeart/2005/8/layout/matrix1"/>
    <dgm:cxn modelId="{996E5E4B-29C3-4F33-A723-4A294FD4F3BC}" type="presParOf" srcId="{58716A08-E8A1-469A-B821-CB08E095C036}" destId="{260B055C-AF8F-4CEC-915F-1DFC624E0F3A}" srcOrd="0" destOrd="0" presId="urn:microsoft.com/office/officeart/2005/8/layout/matrix1"/>
    <dgm:cxn modelId="{E25C3718-2A39-42A1-BD3B-E5F49D85BB26}" type="presParOf" srcId="{58716A08-E8A1-469A-B821-CB08E095C036}" destId="{F7EBF9B3-CA9B-47C8-A6BD-BA0668763AA6}" srcOrd="1" destOrd="0" presId="urn:microsoft.com/office/officeart/2005/8/layout/matrix1"/>
    <dgm:cxn modelId="{0F05EAA1-7D6E-48D9-A83D-CC537AA9CC45}" type="presParOf" srcId="{58716A08-E8A1-469A-B821-CB08E095C036}" destId="{77AAEABB-C439-4FBE-8DE2-7998B3B7148A}" srcOrd="2" destOrd="0" presId="urn:microsoft.com/office/officeart/2005/8/layout/matrix1"/>
    <dgm:cxn modelId="{9A082B5B-7DA1-4AD6-A960-97D2B7C43A5E}" type="presParOf" srcId="{58716A08-E8A1-469A-B821-CB08E095C036}" destId="{9397AB43-3045-4A46-A9C4-67B446C57C8A}" srcOrd="3" destOrd="0" presId="urn:microsoft.com/office/officeart/2005/8/layout/matrix1"/>
    <dgm:cxn modelId="{F087CA8B-1447-4CF9-A53F-BE3628EAC5B8}" type="presParOf" srcId="{58716A08-E8A1-469A-B821-CB08E095C036}" destId="{90E27CC4-17BA-4285-AFD0-A5B98D3F4EF7}" srcOrd="4" destOrd="0" presId="urn:microsoft.com/office/officeart/2005/8/layout/matrix1"/>
    <dgm:cxn modelId="{63DF0A65-0018-4D8D-9267-3751BAA8B9CD}" type="presParOf" srcId="{58716A08-E8A1-469A-B821-CB08E095C036}" destId="{39BE272B-FC02-4B5B-B53D-FF11378690D4}" srcOrd="5" destOrd="0" presId="urn:microsoft.com/office/officeart/2005/8/layout/matrix1"/>
    <dgm:cxn modelId="{25EFDA33-3744-49E0-8D6D-F49FEAA179CC}" type="presParOf" srcId="{58716A08-E8A1-469A-B821-CB08E095C036}" destId="{B5DBF0AB-9556-41CD-90FC-50784E84D5AD}" srcOrd="6" destOrd="0" presId="urn:microsoft.com/office/officeart/2005/8/layout/matrix1"/>
    <dgm:cxn modelId="{EF0B11EA-71F3-4865-B5EF-5548089D2B90}" type="presParOf" srcId="{58716A08-E8A1-469A-B821-CB08E095C036}" destId="{5A795305-CF05-4C1E-BD47-8D6A254FA8EF}" srcOrd="7" destOrd="0" presId="urn:microsoft.com/office/officeart/2005/8/layout/matrix1"/>
    <dgm:cxn modelId="{7FDC1C8B-E30F-424B-987C-106499680D50}" type="presParOf" srcId="{4683F769-0AF5-4890-8AE0-DA882D43917E}" destId="{4DF061A3-83A3-4F59-9A35-2A96F9B5EBC4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FA8F9AC-F4CB-4A49-B01F-4948F6DFEAF6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623872D3-9C95-4D23-B252-A0A2415A7032}">
      <dgm:prSet phldrT="[Text]" custT="1"/>
      <dgm:spPr/>
      <dgm:t>
        <a:bodyPr/>
        <a:lstStyle/>
        <a:p>
          <a:r>
            <a:rPr lang="en-IN" sz="1600" dirty="0">
              <a:solidFill>
                <a:schemeClr val="bg1"/>
              </a:solidFill>
            </a:rPr>
            <a:t>Click Create in Design</a:t>
          </a:r>
        </a:p>
      </dgm:t>
    </dgm:pt>
    <dgm:pt modelId="{02CBC901-E7FA-4F9D-A35D-6F4CD0BF36AF}" type="parTrans" cxnId="{1AC314D6-0241-4B8D-BAC4-2A2D4B9AEAB4}">
      <dgm:prSet/>
      <dgm:spPr/>
      <dgm:t>
        <a:bodyPr/>
        <a:lstStyle/>
        <a:p>
          <a:endParaRPr lang="en-IN"/>
        </a:p>
      </dgm:t>
    </dgm:pt>
    <dgm:pt modelId="{48B3D7F0-D2B6-4DA5-9350-6E29E12F0919}" type="sibTrans" cxnId="{1AC314D6-0241-4B8D-BAC4-2A2D4B9AEAB4}">
      <dgm:prSet/>
      <dgm:spPr/>
      <dgm:t>
        <a:bodyPr/>
        <a:lstStyle/>
        <a:p>
          <a:endParaRPr lang="en-IN"/>
        </a:p>
      </dgm:t>
    </dgm:pt>
    <dgm:pt modelId="{964A4500-9D04-48F5-9E28-7CE077E8389C}" type="pres">
      <dgm:prSet presAssocID="{CFA8F9AC-F4CB-4A49-B01F-4948F6DFEAF6}" presName="Name0" presStyleCnt="0">
        <dgm:presLayoutVars>
          <dgm:dir/>
          <dgm:resizeHandles val="exact"/>
        </dgm:presLayoutVars>
      </dgm:prSet>
      <dgm:spPr/>
    </dgm:pt>
    <dgm:pt modelId="{04DD5753-0C06-4E23-B288-0438DE68738B}" type="pres">
      <dgm:prSet presAssocID="{623872D3-9C95-4D23-B252-A0A2415A7032}" presName="parTxOnly" presStyleLbl="node1" presStyleIdx="0" presStyleCnt="1" custLinFactNeighborX="17707" custLinFactNeighborY="2504">
        <dgm:presLayoutVars>
          <dgm:bulletEnabled val="1"/>
        </dgm:presLayoutVars>
      </dgm:prSet>
      <dgm:spPr/>
    </dgm:pt>
  </dgm:ptLst>
  <dgm:cxnLst>
    <dgm:cxn modelId="{401DF849-5677-4DE1-A258-B974ECB9546F}" type="presOf" srcId="{CFA8F9AC-F4CB-4A49-B01F-4948F6DFEAF6}" destId="{964A4500-9D04-48F5-9E28-7CE077E8389C}" srcOrd="0" destOrd="0" presId="urn:microsoft.com/office/officeart/2005/8/layout/hChevron3"/>
    <dgm:cxn modelId="{EA192B99-A12B-40F9-B037-817908DC7B6A}" type="presOf" srcId="{623872D3-9C95-4D23-B252-A0A2415A7032}" destId="{04DD5753-0C06-4E23-B288-0438DE68738B}" srcOrd="0" destOrd="0" presId="urn:microsoft.com/office/officeart/2005/8/layout/hChevron3"/>
    <dgm:cxn modelId="{1AC314D6-0241-4B8D-BAC4-2A2D4B9AEAB4}" srcId="{CFA8F9AC-F4CB-4A49-B01F-4948F6DFEAF6}" destId="{623872D3-9C95-4D23-B252-A0A2415A7032}" srcOrd="0" destOrd="0" parTransId="{02CBC901-E7FA-4F9D-A35D-6F4CD0BF36AF}" sibTransId="{48B3D7F0-D2B6-4DA5-9350-6E29E12F0919}"/>
    <dgm:cxn modelId="{39541255-EE65-404E-B107-096C1E24E2B0}" type="presParOf" srcId="{964A4500-9D04-48F5-9E28-7CE077E8389C}" destId="{04DD5753-0C06-4E23-B288-0438DE68738B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B132756-75F2-47B4-B16B-ED9D0F5CD08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7FEFBBA7-63C0-4DBA-BDB0-63F62A1BD473}">
      <dgm:prSet phldrT="[Text]"/>
      <dgm:spPr/>
      <dgm:t>
        <a:bodyPr/>
        <a:lstStyle/>
        <a:p>
          <a:pPr algn="l"/>
          <a:r>
            <a:rPr lang="en-IN" dirty="0">
              <a:solidFill>
                <a:schemeClr val="bg1"/>
              </a:solidFill>
              <a:latin typeface="+mj-lt"/>
            </a:rPr>
            <a:t>Provide Package name, Short description</a:t>
          </a:r>
          <a:endParaRPr lang="en-IN" dirty="0">
            <a:solidFill>
              <a:schemeClr val="bg1"/>
            </a:solidFill>
          </a:endParaRPr>
        </a:p>
      </dgm:t>
    </dgm:pt>
    <dgm:pt modelId="{27352EAF-0F5A-455E-A9B9-4237628CE45A}" type="parTrans" cxnId="{78184CB8-C963-4F2A-AB95-FC643E5190FD}">
      <dgm:prSet/>
      <dgm:spPr/>
      <dgm:t>
        <a:bodyPr/>
        <a:lstStyle/>
        <a:p>
          <a:endParaRPr lang="en-IN"/>
        </a:p>
      </dgm:t>
    </dgm:pt>
    <dgm:pt modelId="{F4B8DAF6-446F-4C7F-8D22-DBED78D0B5E6}" type="sibTrans" cxnId="{78184CB8-C963-4F2A-AB95-FC643E5190FD}">
      <dgm:prSet/>
      <dgm:spPr/>
      <dgm:t>
        <a:bodyPr/>
        <a:lstStyle/>
        <a:p>
          <a:endParaRPr lang="en-IN"/>
        </a:p>
      </dgm:t>
    </dgm:pt>
    <dgm:pt modelId="{173B1EE9-BD5F-41E9-BB80-5A9D52A81F72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  <a:latin typeface="+mj-lt"/>
            </a:rPr>
            <a:t>Click Save</a:t>
          </a:r>
          <a:endParaRPr lang="en-IN" dirty="0">
            <a:solidFill>
              <a:schemeClr val="bg1"/>
            </a:solidFill>
          </a:endParaRPr>
        </a:p>
      </dgm:t>
    </dgm:pt>
    <dgm:pt modelId="{E9141526-7625-4985-80AE-8DB2DBAF6CBF}" type="parTrans" cxnId="{68B27B0B-3F59-4B4E-912B-31DEE87723C0}">
      <dgm:prSet/>
      <dgm:spPr/>
      <dgm:t>
        <a:bodyPr/>
        <a:lstStyle/>
        <a:p>
          <a:endParaRPr lang="en-IN"/>
        </a:p>
      </dgm:t>
    </dgm:pt>
    <dgm:pt modelId="{BE38DC26-6D73-419C-96A3-F12AA5E9DDFC}" type="sibTrans" cxnId="{68B27B0B-3F59-4B4E-912B-31DEE87723C0}">
      <dgm:prSet/>
      <dgm:spPr/>
      <dgm:t>
        <a:bodyPr/>
        <a:lstStyle/>
        <a:p>
          <a:endParaRPr lang="en-IN"/>
        </a:p>
      </dgm:t>
    </dgm:pt>
    <dgm:pt modelId="{58FE24E8-B82F-4E72-841F-DC7D98B7AF32}" type="pres">
      <dgm:prSet presAssocID="{5B132756-75F2-47B4-B16B-ED9D0F5CD085}" presName="Name0" presStyleCnt="0">
        <dgm:presLayoutVars>
          <dgm:dir/>
          <dgm:resizeHandles val="exact"/>
        </dgm:presLayoutVars>
      </dgm:prSet>
      <dgm:spPr/>
    </dgm:pt>
    <dgm:pt modelId="{8838C99E-1566-456F-A9AD-5CAAC9CEA351}" type="pres">
      <dgm:prSet presAssocID="{7FEFBBA7-63C0-4DBA-BDB0-63F62A1BD473}" presName="parTxOnly" presStyleLbl="node1" presStyleIdx="0" presStyleCnt="2" custLinFactNeighborX="-90" custLinFactNeighborY="-4704">
        <dgm:presLayoutVars>
          <dgm:bulletEnabled val="1"/>
        </dgm:presLayoutVars>
      </dgm:prSet>
      <dgm:spPr/>
    </dgm:pt>
    <dgm:pt modelId="{5623D772-D239-488C-9EC3-F19AE5FD1675}" type="pres">
      <dgm:prSet presAssocID="{F4B8DAF6-446F-4C7F-8D22-DBED78D0B5E6}" presName="parSpace" presStyleCnt="0"/>
      <dgm:spPr/>
    </dgm:pt>
    <dgm:pt modelId="{F62B9F89-11D6-464E-85DE-5BDDFDC33E53}" type="pres">
      <dgm:prSet presAssocID="{173B1EE9-BD5F-41E9-BB80-5A9D52A81F72}" presName="parTxOnly" presStyleLbl="node1" presStyleIdx="1" presStyleCnt="2" custScaleX="43033" custScaleY="85836" custLinFactNeighborX="-393" custLinFactNeighborY="-4704">
        <dgm:presLayoutVars>
          <dgm:bulletEnabled val="1"/>
        </dgm:presLayoutVars>
      </dgm:prSet>
      <dgm:spPr/>
    </dgm:pt>
  </dgm:ptLst>
  <dgm:cxnLst>
    <dgm:cxn modelId="{68B27B0B-3F59-4B4E-912B-31DEE87723C0}" srcId="{5B132756-75F2-47B4-B16B-ED9D0F5CD085}" destId="{173B1EE9-BD5F-41E9-BB80-5A9D52A81F72}" srcOrd="1" destOrd="0" parTransId="{E9141526-7625-4985-80AE-8DB2DBAF6CBF}" sibTransId="{BE38DC26-6D73-419C-96A3-F12AA5E9DDFC}"/>
    <dgm:cxn modelId="{73ABC89E-1FFE-4FCE-8AC4-332DE14D28DE}" type="presOf" srcId="{5B132756-75F2-47B4-B16B-ED9D0F5CD085}" destId="{58FE24E8-B82F-4E72-841F-DC7D98B7AF32}" srcOrd="0" destOrd="0" presId="urn:microsoft.com/office/officeart/2005/8/layout/hChevron3"/>
    <dgm:cxn modelId="{78184CB8-C963-4F2A-AB95-FC643E5190FD}" srcId="{5B132756-75F2-47B4-B16B-ED9D0F5CD085}" destId="{7FEFBBA7-63C0-4DBA-BDB0-63F62A1BD473}" srcOrd="0" destOrd="0" parTransId="{27352EAF-0F5A-455E-A9B9-4237628CE45A}" sibTransId="{F4B8DAF6-446F-4C7F-8D22-DBED78D0B5E6}"/>
    <dgm:cxn modelId="{EE3158DD-B869-4EA8-B8B6-C2824825C4B8}" type="presOf" srcId="{173B1EE9-BD5F-41E9-BB80-5A9D52A81F72}" destId="{F62B9F89-11D6-464E-85DE-5BDDFDC33E53}" srcOrd="0" destOrd="0" presId="urn:microsoft.com/office/officeart/2005/8/layout/hChevron3"/>
    <dgm:cxn modelId="{C87885FA-43AA-406B-A55D-3A278BC12AAB}" type="presOf" srcId="{7FEFBBA7-63C0-4DBA-BDB0-63F62A1BD473}" destId="{8838C99E-1566-456F-A9AD-5CAAC9CEA351}" srcOrd="0" destOrd="0" presId="urn:microsoft.com/office/officeart/2005/8/layout/hChevron3"/>
    <dgm:cxn modelId="{65182BF7-3F5B-45B3-AF94-775C6FDBCB1A}" type="presParOf" srcId="{58FE24E8-B82F-4E72-841F-DC7D98B7AF32}" destId="{8838C99E-1566-456F-A9AD-5CAAC9CEA351}" srcOrd="0" destOrd="0" presId="urn:microsoft.com/office/officeart/2005/8/layout/hChevron3"/>
    <dgm:cxn modelId="{661C2774-A403-4046-A465-04DC7641AC5D}" type="presParOf" srcId="{58FE24E8-B82F-4E72-841F-DC7D98B7AF32}" destId="{5623D772-D239-488C-9EC3-F19AE5FD1675}" srcOrd="1" destOrd="0" presId="urn:microsoft.com/office/officeart/2005/8/layout/hChevron3"/>
    <dgm:cxn modelId="{77D17B00-D8DA-4ABD-AF59-2DD4E196C723}" type="presParOf" srcId="{58FE24E8-B82F-4E72-841F-DC7D98B7AF32}" destId="{F62B9F89-11D6-464E-85DE-5BDDFDC33E53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A9526C-E658-4802-9013-AF498F12A448}">
      <dsp:nvSpPr>
        <dsp:cNvPr id="0" name=""/>
        <dsp:cNvSpPr/>
      </dsp:nvSpPr>
      <dsp:spPr>
        <a:xfrm>
          <a:off x="53330" y="0"/>
          <a:ext cx="1426044" cy="5938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b="1" kern="1200" dirty="0">
              <a:solidFill>
                <a:schemeClr val="bg1"/>
              </a:solidFill>
              <a:latin typeface="Arial"/>
            </a:rPr>
            <a:t>Overview: </a:t>
          </a:r>
          <a:endParaRPr lang="en-IN" sz="1800" kern="1200" dirty="0">
            <a:solidFill>
              <a:schemeClr val="bg1"/>
            </a:solidFill>
          </a:endParaRPr>
        </a:p>
      </dsp:txBody>
      <dsp:txXfrm>
        <a:off x="82321" y="28991"/>
        <a:ext cx="1368062" cy="535901"/>
      </dsp:txXfrm>
    </dsp:sp>
    <dsp:sp modelId="{A3B25F7B-9758-4B90-A6F0-0D7D0F67E36B}">
      <dsp:nvSpPr>
        <dsp:cNvPr id="0" name=""/>
        <dsp:cNvSpPr/>
      </dsp:nvSpPr>
      <dsp:spPr>
        <a:xfrm>
          <a:off x="0" y="621959"/>
          <a:ext cx="4344651" cy="1749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94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This contains the description of Systems and the Integration between them.</a:t>
          </a:r>
          <a:endParaRPr lang="en-IN" sz="1800" kern="1200" dirty="0">
            <a:solidFill>
              <a:srgbClr val="002060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Other information's are available within overview are Integration flow, Package ID, Category and Created date.</a:t>
          </a:r>
        </a:p>
      </dsp:txBody>
      <dsp:txXfrm>
        <a:off x="0" y="621959"/>
        <a:ext cx="4344651" cy="1749150"/>
      </dsp:txXfrm>
    </dsp:sp>
    <dsp:sp modelId="{7E403407-4C34-4231-9794-9454C6EE0B7F}">
      <dsp:nvSpPr>
        <dsp:cNvPr id="0" name=""/>
        <dsp:cNvSpPr/>
      </dsp:nvSpPr>
      <dsp:spPr>
        <a:xfrm>
          <a:off x="0" y="2426448"/>
          <a:ext cx="1436645" cy="5759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b="1" kern="1200" dirty="0">
              <a:solidFill>
                <a:schemeClr val="bg1"/>
              </a:solidFill>
              <a:latin typeface="Arial"/>
            </a:rPr>
            <a:t>Artifacts:</a:t>
          </a:r>
          <a:endParaRPr lang="en-IN" sz="1800" kern="1200" dirty="0">
            <a:solidFill>
              <a:schemeClr val="bg1"/>
            </a:solidFill>
          </a:endParaRPr>
        </a:p>
      </dsp:txBody>
      <dsp:txXfrm>
        <a:off x="28118" y="2454566"/>
        <a:ext cx="1380409" cy="519760"/>
      </dsp:txXfrm>
    </dsp:sp>
    <dsp:sp modelId="{9E522435-30F3-48FD-B96A-D6E948371FDE}">
      <dsp:nvSpPr>
        <dsp:cNvPr id="0" name=""/>
        <dsp:cNvSpPr/>
      </dsp:nvSpPr>
      <dsp:spPr>
        <a:xfrm>
          <a:off x="0" y="3025387"/>
          <a:ext cx="4344651" cy="17827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94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Integration flows for various business process are added within Artifacts.</a:t>
          </a:r>
          <a:endParaRPr lang="en-IN" sz="1800" kern="1200" dirty="0">
            <a:solidFill>
              <a:srgbClr val="002060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Other components available under artifacts are OData Service, Value Mapping and Data integration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We can view the steps within the Integration flow from Artifacts</a:t>
          </a:r>
        </a:p>
      </dsp:txBody>
      <dsp:txXfrm>
        <a:off x="0" y="3025387"/>
        <a:ext cx="4344651" cy="17827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0B055C-AF8F-4CEC-915F-1DFC624E0F3A}">
      <dsp:nvSpPr>
        <dsp:cNvPr id="0" name=""/>
        <dsp:cNvSpPr/>
      </dsp:nvSpPr>
      <dsp:spPr>
        <a:xfrm rot="16200000">
          <a:off x="299106" y="-299106"/>
          <a:ext cx="1040086" cy="16383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Integration Flow</a:t>
          </a:r>
        </a:p>
      </dsp:txBody>
      <dsp:txXfrm rot="5400000">
        <a:off x="-1" y="1"/>
        <a:ext cx="1638300" cy="780064"/>
      </dsp:txXfrm>
    </dsp:sp>
    <dsp:sp modelId="{77AAEABB-C439-4FBE-8DE2-7998B3B7148A}">
      <dsp:nvSpPr>
        <dsp:cNvPr id="0" name=""/>
        <dsp:cNvSpPr/>
      </dsp:nvSpPr>
      <dsp:spPr>
        <a:xfrm>
          <a:off x="1638300" y="0"/>
          <a:ext cx="1638300" cy="10400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OData Service</a:t>
          </a:r>
        </a:p>
      </dsp:txBody>
      <dsp:txXfrm>
        <a:off x="1638300" y="0"/>
        <a:ext cx="1638300" cy="780064"/>
      </dsp:txXfrm>
    </dsp:sp>
    <dsp:sp modelId="{90E27CC4-17BA-4285-AFD0-A5B98D3F4EF7}">
      <dsp:nvSpPr>
        <dsp:cNvPr id="0" name=""/>
        <dsp:cNvSpPr/>
      </dsp:nvSpPr>
      <dsp:spPr>
        <a:xfrm rot="10800000">
          <a:off x="0" y="1040086"/>
          <a:ext cx="1638300" cy="10400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Value Mapping</a:t>
          </a:r>
        </a:p>
      </dsp:txBody>
      <dsp:txXfrm rot="10800000">
        <a:off x="0" y="1300108"/>
        <a:ext cx="1638300" cy="780064"/>
      </dsp:txXfrm>
    </dsp:sp>
    <dsp:sp modelId="{B5DBF0AB-9556-41CD-90FC-50784E84D5AD}">
      <dsp:nvSpPr>
        <dsp:cNvPr id="0" name=""/>
        <dsp:cNvSpPr/>
      </dsp:nvSpPr>
      <dsp:spPr>
        <a:xfrm rot="5400000">
          <a:off x="1937406" y="740979"/>
          <a:ext cx="1040086" cy="16383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Data Integration</a:t>
          </a:r>
        </a:p>
      </dsp:txBody>
      <dsp:txXfrm rot="-5400000">
        <a:off x="1638299" y="1300108"/>
        <a:ext cx="1638300" cy="780064"/>
      </dsp:txXfrm>
    </dsp:sp>
    <dsp:sp modelId="{4DF061A3-83A3-4F59-9A35-2A96F9B5EBC4}">
      <dsp:nvSpPr>
        <dsp:cNvPr id="0" name=""/>
        <dsp:cNvSpPr/>
      </dsp:nvSpPr>
      <dsp:spPr>
        <a:xfrm>
          <a:off x="1146809" y="780064"/>
          <a:ext cx="982980" cy="520043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200" extrusionH="600" contourW="3000" prstMaterial="plastic">
          <a:bevelT w="80600" h="18600" prst="relaxedInset"/>
          <a:bevelB w="80600" h="8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b="1" kern="1200" dirty="0"/>
            <a:t>Artifacts</a:t>
          </a:r>
        </a:p>
      </dsp:txBody>
      <dsp:txXfrm>
        <a:off x="1172195" y="805450"/>
        <a:ext cx="932208" cy="46927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DD5753-0C06-4E23-B288-0438DE68738B}">
      <dsp:nvSpPr>
        <dsp:cNvPr id="0" name=""/>
        <dsp:cNvSpPr/>
      </dsp:nvSpPr>
      <dsp:spPr>
        <a:xfrm>
          <a:off x="2494" y="0"/>
          <a:ext cx="2551815" cy="50165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 dirty="0">
              <a:solidFill>
                <a:schemeClr val="bg1"/>
              </a:solidFill>
            </a:rPr>
            <a:t>Click Create in Design</a:t>
          </a:r>
        </a:p>
      </dsp:txBody>
      <dsp:txXfrm>
        <a:off x="2494" y="0"/>
        <a:ext cx="2426402" cy="50165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38C99E-1566-456F-A9AD-5CAAC9CEA351}">
      <dsp:nvSpPr>
        <dsp:cNvPr id="0" name=""/>
        <dsp:cNvSpPr/>
      </dsp:nvSpPr>
      <dsp:spPr>
        <a:xfrm>
          <a:off x="194" y="0"/>
          <a:ext cx="4914305" cy="54529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solidFill>
                <a:schemeClr val="bg1"/>
              </a:solidFill>
              <a:latin typeface="+mj-lt"/>
            </a:rPr>
            <a:t>Provide Package name, Short description</a:t>
          </a:r>
          <a:endParaRPr lang="en-IN" sz="1400" kern="1200" dirty="0">
            <a:solidFill>
              <a:schemeClr val="bg1"/>
            </a:solidFill>
          </a:endParaRPr>
        </a:p>
      </dsp:txBody>
      <dsp:txXfrm>
        <a:off x="194" y="0"/>
        <a:ext cx="4777983" cy="545290"/>
      </dsp:txXfrm>
    </dsp:sp>
    <dsp:sp modelId="{F62B9F89-11D6-464E-85DE-5BDDFDC33E53}">
      <dsp:nvSpPr>
        <dsp:cNvPr id="0" name=""/>
        <dsp:cNvSpPr/>
      </dsp:nvSpPr>
      <dsp:spPr>
        <a:xfrm>
          <a:off x="3928661" y="0"/>
          <a:ext cx="2114773" cy="5452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solidFill>
                <a:schemeClr val="bg1"/>
              </a:solidFill>
              <a:latin typeface="+mj-lt"/>
            </a:rPr>
            <a:t>Click Save</a:t>
          </a:r>
          <a:endParaRPr lang="en-IN" sz="1400" kern="1200" dirty="0">
            <a:solidFill>
              <a:schemeClr val="bg1"/>
            </a:solidFill>
          </a:endParaRPr>
        </a:p>
      </dsp:txBody>
      <dsp:txXfrm>
        <a:off x="4201306" y="0"/>
        <a:ext cx="1569483" cy="5452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9/0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9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79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10823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415778714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597509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662858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78625099"/>
      </p:ext>
    </p:extLst>
  </p:cSld>
  <p:clrMapOvr>
    <a:masterClrMapping/>
  </p:clrMapOvr>
  <p:transition spd="slow">
    <p:cover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03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</p:sldLayoutIdLst>
  <p:transition spd="slow">
    <p:cover dir="u"/>
  </p:transition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13" Type="http://schemas.openxmlformats.org/officeDocument/2006/relationships/diagramQuickStyle" Target="../diagrams/quickStyle4.xml"/><Relationship Id="rId3" Type="http://schemas.openxmlformats.org/officeDocument/2006/relationships/image" Target="../media/image18.png"/><Relationship Id="rId7" Type="http://schemas.openxmlformats.org/officeDocument/2006/relationships/diagramLayout" Target="../diagrams/layout3.xml"/><Relationship Id="rId12" Type="http://schemas.openxmlformats.org/officeDocument/2006/relationships/diagramLayout" Target="../diagrams/layout4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3.xml"/><Relationship Id="rId11" Type="http://schemas.openxmlformats.org/officeDocument/2006/relationships/diagramData" Target="../diagrams/data4.xml"/><Relationship Id="rId5" Type="http://schemas.openxmlformats.org/officeDocument/2006/relationships/image" Target="../media/image20.png"/><Relationship Id="rId15" Type="http://schemas.microsoft.com/office/2007/relationships/diagramDrawing" Target="../diagrams/drawing4.xml"/><Relationship Id="rId10" Type="http://schemas.microsoft.com/office/2007/relationships/diagramDrawing" Target="../diagrams/drawing3.xml"/><Relationship Id="rId4" Type="http://schemas.openxmlformats.org/officeDocument/2006/relationships/image" Target="../media/image19.png"/><Relationship Id="rId9" Type="http://schemas.openxmlformats.org/officeDocument/2006/relationships/diagramColors" Target="../diagrams/colors3.xml"/><Relationship Id="rId14" Type="http://schemas.openxmlformats.org/officeDocument/2006/relationships/diagramColors" Target="../diagrams/colors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 b="1" dirty="0"/>
              <a:t>Exploring of Discover, Design and Monitor</a:t>
            </a:r>
            <a:endParaRPr lang="en-GB" dirty="0"/>
          </a:p>
        </p:txBody>
      </p:sp>
    </p:spTree>
  </p:cSld>
  <p:clrMapOvr>
    <a:masterClrMapping/>
  </p:clrMapOvr>
  <p:transition spd="slow">
    <p:cover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package Content Configuration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104900"/>
            <a:ext cx="2994525" cy="1817572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3650688" y="2362200"/>
            <a:ext cx="605475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9600" y="1252104"/>
            <a:ext cx="7527241" cy="15621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85800" y="3886200"/>
            <a:ext cx="1584000" cy="116955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dirty="0">
                <a:latin typeface="Arial" panose="020B0604020202020204" pitchFamily="34" charset="0"/>
                <a:cs typeface="Arial" panose="020B0604020202020204" pitchFamily="34" charset="0"/>
              </a:rPr>
              <a:t>Package is added to Own workspace with Prefix and Editab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2991" y="2994936"/>
            <a:ext cx="9373850" cy="3429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189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703106"/>
      </p:ext>
    </p:extLst>
  </p:cSld>
  <p:clrMapOvr>
    <a:masterClrMapping/>
  </p:clrMapOvr>
  <p:transition spd="slow">
    <p:cover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dirty="0">
                <a:latin typeface="+mn-lt"/>
                <a:ea typeface="+mn-ea"/>
                <a:cs typeface="+mn-cs"/>
              </a:rPr>
            </a:br>
            <a:r>
              <a:rPr lang="en-US" sz="3200" dirty="0">
                <a:latin typeface="+mn-lt"/>
                <a:ea typeface="+mn-ea"/>
                <a:cs typeface="+mn-cs"/>
              </a:rPr>
              <a:t>Table of Contents</a:t>
            </a:r>
            <a:endParaRPr lang="en-GB" sz="3200" dirty="0">
              <a:latin typeface="+mn-lt"/>
              <a:ea typeface="+mn-ea"/>
              <a:cs typeface="+mn-cs"/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917688" y="1668130"/>
            <a:ext cx="2962516" cy="459048"/>
          </a:xfrm>
        </p:spPr>
        <p:txBody>
          <a:bodyPr/>
          <a:lstStyle/>
          <a:p>
            <a:r>
              <a:rPr lang="en-US" dirty="0"/>
              <a:t>Exploring Discover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917687" y="2354378"/>
            <a:ext cx="2786313" cy="459048"/>
          </a:xfrm>
        </p:spPr>
        <p:txBody>
          <a:bodyPr/>
          <a:lstStyle/>
          <a:p>
            <a:r>
              <a:rPr lang="en-US" dirty="0"/>
              <a:t>Exploring </a:t>
            </a:r>
            <a:r>
              <a:rPr lang="en-IN" dirty="0"/>
              <a:t>Design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917688" y="3034830"/>
            <a:ext cx="2962516" cy="459048"/>
          </a:xfrm>
        </p:spPr>
        <p:txBody>
          <a:bodyPr/>
          <a:lstStyle/>
          <a:p>
            <a:r>
              <a:rPr lang="en-IN" dirty="0"/>
              <a:t>Exploring Monitor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17688" y="3718180"/>
            <a:ext cx="2962516" cy="459048"/>
          </a:xfrm>
        </p:spPr>
        <p:txBody>
          <a:bodyPr/>
          <a:lstStyle/>
          <a:p>
            <a:r>
              <a:rPr lang="en-IN" dirty="0"/>
              <a:t>Creation of Packag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105327" y="1649905"/>
            <a:ext cx="506929" cy="495499"/>
            <a:chOff x="6230532" y="1335315"/>
            <a:chExt cx="1204015" cy="1137596"/>
          </a:xfrm>
        </p:grpSpPr>
        <p:sp>
          <p:nvSpPr>
            <p:cNvPr id="38" name="Oval 20">
              <a:extLst>
                <a:ext uri="{FF2B5EF4-FFF2-40B4-BE49-F238E27FC236}">
                  <a16:creationId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9" name="Text Placeholder 14">
              <a:extLst>
                <a:ext uri="{FF2B5EF4-FFF2-40B4-BE49-F238E27FC236}">
                  <a16:creationId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105328" y="2333255"/>
            <a:ext cx="506929" cy="495499"/>
            <a:chOff x="6230534" y="1335315"/>
            <a:chExt cx="1204015" cy="1137595"/>
          </a:xfrm>
        </p:grpSpPr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2" name="Text Placeholder 14">
              <a:extLst>
                <a:ext uri="{FF2B5EF4-FFF2-40B4-BE49-F238E27FC236}">
                  <a16:creationId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2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105328" y="3016605"/>
            <a:ext cx="506929" cy="495499"/>
            <a:chOff x="6230534" y="1335315"/>
            <a:chExt cx="1204015" cy="1137595"/>
          </a:xfrm>
        </p:grpSpPr>
        <p:sp>
          <p:nvSpPr>
            <p:cNvPr id="44" name="Oval 20">
              <a:extLst>
                <a:ext uri="{FF2B5EF4-FFF2-40B4-BE49-F238E27FC236}">
                  <a16:creationId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5" name="Text Placeholder 14">
              <a:extLst>
                <a:ext uri="{FF2B5EF4-FFF2-40B4-BE49-F238E27FC236}">
                  <a16:creationId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3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105328" y="3699955"/>
            <a:ext cx="506929" cy="495499"/>
            <a:chOff x="6230534" y="1335315"/>
            <a:chExt cx="1204015" cy="1137595"/>
          </a:xfrm>
        </p:grpSpPr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4</a:t>
              </a:r>
            </a:p>
          </p:txBody>
        </p:sp>
      </p:grpSp>
      <p:sp>
        <p:nvSpPr>
          <p:cNvPr id="1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32928" y="4383305"/>
            <a:ext cx="2962516" cy="459048"/>
          </a:xfrm>
        </p:spPr>
        <p:txBody>
          <a:bodyPr/>
          <a:lstStyle/>
          <a:p>
            <a:r>
              <a:rPr lang="en-IN" dirty="0"/>
              <a:t>Pre-package Content Configur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120568" y="4365080"/>
            <a:ext cx="506929" cy="495499"/>
            <a:chOff x="6230534" y="1335315"/>
            <a:chExt cx="1204015" cy="1137595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3762956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build="p"/>
      <p:bldP spid="34" grpId="0" build="p"/>
      <p:bldP spid="35" grpId="0" build="p"/>
      <p:bldP spid="36" grpId="0" build="p"/>
      <p:bldP spid="19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Exploring Discov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4301" y="838201"/>
            <a:ext cx="11700000" cy="6096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scover contains Standard Integration Content published by SAP and its Vendors. All the packages are specific to the Business process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3400" y="1371599"/>
            <a:ext cx="4461000" cy="580258"/>
          </a:xfrm>
        </p:spPr>
        <p:txBody>
          <a:bodyPr/>
          <a:lstStyle/>
          <a:p>
            <a:r>
              <a:rPr lang="en-IN" b="1" dirty="0"/>
              <a:t>Components of Pre-Package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4183950033"/>
              </p:ext>
            </p:extLst>
          </p:nvPr>
        </p:nvGraphicFramePr>
        <p:xfrm>
          <a:off x="227349" y="1714500"/>
          <a:ext cx="4344651" cy="48081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9200" y="1120708"/>
            <a:ext cx="5981700" cy="27241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66085" y="3866194"/>
            <a:ext cx="6286500" cy="2733675"/>
          </a:xfrm>
          <a:prstGeom prst="rect">
            <a:avLst/>
          </a:prstGeom>
        </p:spPr>
      </p:pic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Graphic spid="9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Exploring Discov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buNone/>
            </a:pPr>
            <a:endParaRPr lang="en-US" dirty="0"/>
          </a:p>
          <a:p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051104"/>
            <a:ext cx="5076652" cy="2015999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Document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Integration Guide is provided for some package with step by step process under Documentation section. 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PDF Document can be downloaded. Changes for the package is maintained in Change Log and added in Documents Tab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0537" y="849977"/>
            <a:ext cx="5619750" cy="2781300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4883" y="3208464"/>
            <a:ext cx="5076652" cy="1008000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Tag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Packages are tagged with the Key words like Product, Country, Line of Business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4883" y="4365000"/>
            <a:ext cx="5076652" cy="1492953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Rating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Consumer Ratings and Comments for the are Standard content are added in Ratings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9975" y="3597749"/>
            <a:ext cx="5657850" cy="2857500"/>
          </a:xfrm>
          <a:prstGeom prst="rect">
            <a:avLst/>
          </a:prstGeom>
        </p:spPr>
      </p:pic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2" grpId="0" build="p"/>
      <p:bldP spid="1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3.Exploring Design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69984" y="914400"/>
            <a:ext cx="11641016" cy="92333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sign enables the developer to create/Edit Packages and Artifacts. Various palettes functions are available as standard which can be used to complete Business Process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curity materials such as Certificates, Credentials, Keys imported in Operations are internally used Iflow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6C1A8D-BC21-4931-A16C-2E2CF90507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0" y="2286000"/>
            <a:ext cx="7597199" cy="3457699"/>
          </a:xfrm>
          <a:prstGeom prst="rect">
            <a:avLst/>
          </a:prstGeom>
        </p:spPr>
      </p:pic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121920757"/>
              </p:ext>
            </p:extLst>
          </p:nvPr>
        </p:nvGraphicFramePr>
        <p:xfrm>
          <a:off x="533400" y="3124200"/>
          <a:ext cx="3276600" cy="20801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87955373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90600"/>
          </a:xfrm>
        </p:spPr>
        <p:txBody>
          <a:bodyPr/>
          <a:lstStyle/>
          <a:p>
            <a:r>
              <a:rPr lang="en-GB" b="1" dirty="0"/>
              <a:t> 3.Exploring Design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04800" y="738572"/>
            <a:ext cx="11700000" cy="504056"/>
          </a:xfrm>
        </p:spPr>
        <p:txBody>
          <a:bodyPr/>
          <a:lstStyle/>
          <a:p>
            <a:r>
              <a:rPr lang="en-IN" b="1" dirty="0"/>
              <a:t>Integration Flow</a:t>
            </a:r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6279F9-5EF1-4E8C-A7B5-39EC7DC2D36C}"/>
              </a:ext>
            </a:extLst>
          </p:cNvPr>
          <p:cNvSpPr/>
          <p:nvPr/>
        </p:nvSpPr>
        <p:spPr>
          <a:xfrm>
            <a:off x="7104000" y="1183400"/>
            <a:ext cx="28504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chemeClr val="accent1">
                    <a:lumMod val="75000"/>
                  </a:schemeClr>
                </a:solidFill>
              </a:rPr>
              <a:t>Few sample palettes</a:t>
            </a:r>
          </a:p>
        </p:txBody>
      </p:sp>
      <p:pic>
        <p:nvPicPr>
          <p:cNvPr id="3" name="Picture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25961B30-9177-4208-AD39-A922FF7B9F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615" y="1629678"/>
            <a:ext cx="6662057" cy="4705356"/>
          </a:xfrm>
          <a:prstGeom prst="rect">
            <a:avLst/>
          </a:prstGeom>
        </p:spPr>
      </p:pic>
      <p:pic>
        <p:nvPicPr>
          <p:cNvPr id="5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B2B5988-3E09-4033-8A90-8975FFE36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2175" y="3417661"/>
            <a:ext cx="2152650" cy="3143250"/>
          </a:xfrm>
          <a:prstGeom prst="rect">
            <a:avLst/>
          </a:prstGeom>
        </p:spPr>
      </p:pic>
      <p:pic>
        <p:nvPicPr>
          <p:cNvPr id="6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980322C-3ED7-4276-8F57-B510DAE552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3232" y="3427413"/>
            <a:ext cx="2000250" cy="2924175"/>
          </a:xfrm>
          <a:prstGeom prst="rect">
            <a:avLst/>
          </a:prstGeom>
        </p:spPr>
      </p:pic>
      <p:pic>
        <p:nvPicPr>
          <p:cNvPr id="7" name="Picture 1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0AE0B01-0185-46C7-8051-C7A7A651C3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13446" y="1554162"/>
            <a:ext cx="2000250" cy="1590675"/>
          </a:xfrm>
          <a:prstGeom prst="rect">
            <a:avLst/>
          </a:prstGeom>
        </p:spPr>
      </p:pic>
      <p:pic>
        <p:nvPicPr>
          <p:cNvPr id="13" name="Picture 13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7C1B64C-2B39-4DDC-B3CD-25A03D385E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2175" y="1609951"/>
            <a:ext cx="2152650" cy="153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724402"/>
      </p:ext>
    </p:extLst>
  </p:cSld>
  <p:clrMapOvr>
    <a:masterClrMapping/>
  </p:clrMapOvr>
  <p:transition spd="slow">
    <p:cover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b="1" dirty="0"/>
              <a:t>4. Exploring Monito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7846" y="1065519"/>
            <a:ext cx="5559092" cy="3810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Message and Integration Content Monitoring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846" y="1406220"/>
            <a:ext cx="4953000" cy="314927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0840" y="1397076"/>
            <a:ext cx="4870560" cy="3163681"/>
          </a:xfrm>
          <a:prstGeom prst="rect">
            <a:avLst/>
          </a:prstGeom>
        </p:spPr>
      </p:pic>
      <p:sp>
        <p:nvSpPr>
          <p:cNvPr id="10" name="Text Placeholder 4"/>
          <p:cNvSpPr txBox="1">
            <a:spLocks/>
          </p:cNvSpPr>
          <p:nvPr/>
        </p:nvSpPr>
        <p:spPr>
          <a:xfrm>
            <a:off x="6330840" y="1065519"/>
            <a:ext cx="5559092" cy="381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Manage Security and Manage Stores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800" y="4719137"/>
            <a:ext cx="1972944" cy="185006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819400" y="4719137"/>
            <a:ext cx="1984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kern="0" dirty="0">
                <a:solidFill>
                  <a:srgbClr val="002060"/>
                </a:solidFill>
                <a:latin typeface="Arial"/>
              </a:rPr>
              <a:t>Manage Locks</a:t>
            </a:r>
          </a:p>
        </p:txBody>
      </p:sp>
    </p:spTree>
    <p:extLst>
      <p:ext uri="{BB962C8B-B14F-4D97-AF65-F5344CB8AC3E}">
        <p14:creationId xmlns:p14="http://schemas.microsoft.com/office/powerpoint/2010/main" val="3865164269"/>
      </p:ext>
    </p:extLst>
  </p:cSld>
  <p:clrMapOvr>
    <a:masterClrMapping/>
  </p:clrMapOvr>
  <p:transition spd="slow">
    <p:cover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8" y="-79345"/>
            <a:ext cx="11125236" cy="1104900"/>
          </a:xfrm>
        </p:spPr>
        <p:txBody>
          <a:bodyPr/>
          <a:lstStyle/>
          <a:p>
            <a:r>
              <a:rPr lang="en-US" b="1" dirty="0"/>
              <a:t>5. Creation of Packag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1024" y="982433"/>
            <a:ext cx="11201400" cy="299514"/>
          </a:xfrm>
        </p:spPr>
        <p:txBody>
          <a:bodyPr>
            <a:normAutofit/>
          </a:bodyPr>
          <a:lstStyle/>
          <a:p>
            <a:r>
              <a:rPr lang="en-IN" sz="1600" dirty="0">
                <a:solidFill>
                  <a:srgbClr val="002060"/>
                </a:solidFill>
              </a:rPr>
              <a:t>Package can be created in Design page. To launch click the pointer marked in picture 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074" y="1263144"/>
            <a:ext cx="2667001" cy="17010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8104" y="2064270"/>
            <a:ext cx="6642896" cy="92556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024" y="3647596"/>
            <a:ext cx="4905375" cy="151703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6399" y="4404368"/>
            <a:ext cx="6423072" cy="1636429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391400" y="3746855"/>
            <a:ext cx="46990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rgbClr val="002060"/>
                </a:solidFill>
                <a:latin typeface="+mj-lt"/>
              </a:rPr>
              <a:t>Package is created and searched using Keyword</a:t>
            </a:r>
          </a:p>
        </p:txBody>
      </p:sp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1981005867"/>
              </p:ext>
            </p:extLst>
          </p:nvPr>
        </p:nvGraphicFramePr>
        <p:xfrm>
          <a:off x="8686800" y="1524000"/>
          <a:ext cx="2554310" cy="501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174615450"/>
              </p:ext>
            </p:extLst>
          </p:nvPr>
        </p:nvGraphicFramePr>
        <p:xfrm>
          <a:off x="581024" y="2989831"/>
          <a:ext cx="6048376" cy="5452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422728196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0" grpId="0"/>
      <p:bldGraphic spid="21" grpId="0">
        <p:bldAsOne/>
      </p:bldGraphic>
      <p:bldGraphic spid="22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package Content Configuration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8684" y="897112"/>
            <a:ext cx="11409915" cy="550688"/>
          </a:xfrm>
        </p:spPr>
        <p:txBody>
          <a:bodyPr>
            <a:normAutofit/>
          </a:bodyPr>
          <a:lstStyle/>
          <a:p>
            <a:r>
              <a:rPr lang="en-IN" sz="1600" dirty="0">
                <a:solidFill>
                  <a:srgbClr val="002060"/>
                </a:solidFill>
              </a:rPr>
              <a:t>Steps to configure Pre-package Content Successfactor Employee Central to ERP Employee Data</a:t>
            </a:r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1219200" y="1587664"/>
            <a:ext cx="2655570" cy="1408430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4321782" y="3207084"/>
            <a:ext cx="720000" cy="1234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749" y="1371600"/>
            <a:ext cx="5915041" cy="2255443"/>
          </a:xfrm>
          <a:prstGeom prst="rect">
            <a:avLst/>
          </a:prstGeom>
        </p:spPr>
      </p:pic>
      <p:sp>
        <p:nvSpPr>
          <p:cNvPr id="9" name="Text Box 6"/>
          <p:cNvSpPr txBox="1"/>
          <p:nvPr/>
        </p:nvSpPr>
        <p:spPr>
          <a:xfrm>
            <a:off x="2895600" y="3145357"/>
            <a:ext cx="1372215" cy="24691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ly Filter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" y="3776306"/>
            <a:ext cx="5715000" cy="2245398"/>
          </a:xfrm>
          <a:prstGeom prst="rect">
            <a:avLst/>
          </a:prstGeom>
        </p:spPr>
      </p:pic>
      <p:sp>
        <p:nvSpPr>
          <p:cNvPr id="11" name="Text Box 7"/>
          <p:cNvSpPr txBox="1"/>
          <p:nvPr/>
        </p:nvSpPr>
        <p:spPr>
          <a:xfrm>
            <a:off x="6578037" y="3776306"/>
            <a:ext cx="1451301" cy="53934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t the Package</a:t>
            </a:r>
          </a:p>
        </p:txBody>
      </p:sp>
      <p:sp>
        <p:nvSpPr>
          <p:cNvPr id="12" name="Text Box 7"/>
          <p:cNvSpPr txBox="1"/>
          <p:nvPr/>
        </p:nvSpPr>
        <p:spPr>
          <a:xfrm>
            <a:off x="6554106" y="4464912"/>
            <a:ext cx="1475232" cy="53934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py to Own Workspace</a:t>
            </a:r>
          </a:p>
        </p:txBody>
      </p:sp>
      <p:sp>
        <p:nvSpPr>
          <p:cNvPr id="13" name="Text Box 7"/>
          <p:cNvSpPr txBox="1"/>
          <p:nvPr/>
        </p:nvSpPr>
        <p:spPr>
          <a:xfrm>
            <a:off x="6554106" y="5153518"/>
            <a:ext cx="1459992" cy="282022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 Suffix</a:t>
            </a:r>
            <a:endParaRPr lang="en-IN" sz="14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43604" y="4755919"/>
            <a:ext cx="3063125" cy="122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752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FAED6D-1EA6-4E1E-89E5-61FCAACF03C5}"/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2235</TotalTime>
  <Words>357</Words>
  <Application>Microsoft Office PowerPoint</Application>
  <PresentationFormat>Widescreen</PresentationFormat>
  <Paragraphs>61</Paragraphs>
  <Slides>1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Capgemini Master</vt:lpstr>
      <vt:lpstr>Cover options</vt:lpstr>
      <vt:lpstr>Title Slide</vt:lpstr>
      <vt:lpstr>Exploring of Discover, Design and Monitor</vt:lpstr>
      <vt:lpstr> Table of Contents</vt:lpstr>
      <vt:lpstr>1.Exploring Discover</vt:lpstr>
      <vt:lpstr>1.Exploring Discover</vt:lpstr>
      <vt:lpstr>3.Exploring Design</vt:lpstr>
      <vt:lpstr> 3.Exploring Design</vt:lpstr>
      <vt:lpstr>4. Exploring Monitor</vt:lpstr>
      <vt:lpstr>5. Creation of Package</vt:lpstr>
      <vt:lpstr>Prepackage Content Configuration</vt:lpstr>
      <vt:lpstr>Prepackage Content Configur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106</cp:revision>
  <dcterms:created xsi:type="dcterms:W3CDTF">2019-06-24T10:07:26Z</dcterms:created>
  <dcterms:modified xsi:type="dcterms:W3CDTF">2021-02-09T08:4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